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9"/>
  </p:notesMasterIdLst>
  <p:sldIdLst>
    <p:sldId id="264" r:id="rId3"/>
    <p:sldId id="265" r:id="rId4"/>
    <p:sldId id="260" r:id="rId5"/>
    <p:sldId id="267" r:id="rId6"/>
    <p:sldId id="268" r:id="rId7"/>
    <p:sldId id="266" r:id="rId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3" pos="402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F2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576" y="32"/>
      </p:cViewPr>
      <p:guideLst>
        <p:guide orient="horz" pos="1275"/>
        <p:guide pos="302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1178F-EA17-471E-8CB0-2D0C1CABFF0A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D6B00-7B84-42C9-996D-385CAFC829A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3963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2735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0707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23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39F7EF-3137-A44A-AF93-D2FC6143FF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5690849" y="-1626559"/>
            <a:ext cx="589393" cy="12412910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F9ADB869-9131-3349-9EC3-2E8B47BA5F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44134" y="4787816"/>
            <a:ext cx="10176932" cy="594192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algn="l">
              <a:defRPr sz="3600" b="1">
                <a:ln>
                  <a:noFill/>
                </a:ln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694916B-020C-6B49-B6DB-07868C0F3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4134" y="5516417"/>
            <a:ext cx="10176932" cy="480099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108" name="Content Placeholder 107">
            <a:extLst>
              <a:ext uri="{FF2B5EF4-FFF2-40B4-BE49-F238E27FC236}">
                <a16:creationId xmlns:a16="http://schemas.microsoft.com/office/drawing/2014/main" id="{62209DD7-9DD2-2F4B-8635-EA26F0AC827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44134" y="6130926"/>
            <a:ext cx="10176932" cy="48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800" b="0" i="0" kern="1200" dirty="0" smtClean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ea typeface="+mn-ea"/>
                <a:cs typeface="NEXT Pan Book Light" panose="020B040402010101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date</a:t>
            </a:r>
          </a:p>
          <a:p>
            <a:pPr lvl="0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455283-5D4F-144F-957D-FCFD143DC3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21707"/>
            <a:ext cx="12192000" cy="44666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D5D69A9-9D36-764F-8046-A6DF8B8A9A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4" y="4787816"/>
            <a:ext cx="1211013" cy="18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88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F9ADB869-9131-3349-9EC3-2E8B47BA5F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44134" y="4787816"/>
            <a:ext cx="10176932" cy="594192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algn="l">
              <a:defRPr sz="3600" b="1">
                <a:ln>
                  <a:noFill/>
                </a:ln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694916B-020C-6B49-B6DB-07868C0F3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4134" y="5516417"/>
            <a:ext cx="10176932" cy="480099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108" name="Content Placeholder 107">
            <a:extLst>
              <a:ext uri="{FF2B5EF4-FFF2-40B4-BE49-F238E27FC236}">
                <a16:creationId xmlns:a16="http://schemas.microsoft.com/office/drawing/2014/main" id="{62209DD7-9DD2-2F4B-8635-EA26F0AC827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44134" y="6130926"/>
            <a:ext cx="10176932" cy="48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800" b="0" i="0" kern="1200" dirty="0" smtClean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ea typeface="+mn-ea"/>
                <a:cs typeface="NEXT Pan Book Light" panose="020B040402010101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date</a:t>
            </a:r>
          </a:p>
          <a:p>
            <a:pPr lvl="0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59E5A1-3CB4-424E-A7B5-6E0CFF0B2C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5690849" y="-1626559"/>
            <a:ext cx="589393" cy="12412910"/>
          </a:xfrm>
          <a:prstGeom prst="rect">
            <a:avLst/>
          </a:prstGeom>
        </p:spPr>
      </p:pic>
      <p:pic>
        <p:nvPicPr>
          <p:cNvPr id="12" name="Picture 11" descr="A picture containing indoor, person, person, table&#10;&#10;Description automatically generated">
            <a:extLst>
              <a:ext uri="{FF2B5EF4-FFF2-40B4-BE49-F238E27FC236}">
                <a16:creationId xmlns:a16="http://schemas.microsoft.com/office/drawing/2014/main" id="{65C068E3-C3BA-A944-8A83-004E6F8B5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21707"/>
            <a:ext cx="12192000" cy="44666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26F922-D9A3-F241-B5A6-91C03FEA0D7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4" y="4787816"/>
            <a:ext cx="1211013" cy="18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78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CF9B54-510F-7542-8516-959B17F6D50E}"/>
              </a:ext>
            </a:extLst>
          </p:cNvPr>
          <p:cNvSpPr/>
          <p:nvPr/>
        </p:nvSpPr>
        <p:spPr>
          <a:xfrm>
            <a:off x="7315201" y="227817"/>
            <a:ext cx="4509004" cy="688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3200" b="0" i="0">
                <a:solidFill>
                  <a:schemeClr val="tx2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rPr>
              <a:t>LEARN, DARE &amp; MIND</a:t>
            </a:r>
          </a:p>
        </p:txBody>
      </p:sp>
      <p:pic>
        <p:nvPicPr>
          <p:cNvPr id="33" name="Picture 32" descr="A picture containing grass, indoor, building, plane&#10;&#10;Description automatically generated">
            <a:extLst>
              <a:ext uri="{FF2B5EF4-FFF2-40B4-BE49-F238E27FC236}">
                <a16:creationId xmlns:a16="http://schemas.microsoft.com/office/drawing/2014/main" id="{22C2E493-193D-0147-9A28-61FE22789E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68739"/>
            <a:ext cx="12193134" cy="4520523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C88CF8B-216D-E149-AF13-9E39C2C5ACB7}"/>
              </a:ext>
            </a:extLst>
          </p:cNvPr>
          <p:cNvSpPr/>
          <p:nvPr/>
        </p:nvSpPr>
        <p:spPr>
          <a:xfrm>
            <a:off x="0" y="5689262"/>
            <a:ext cx="12191999" cy="1168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F9A15A-DAFE-3645-9DD1-4E9E06A40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795" y="152678"/>
            <a:ext cx="3219719" cy="83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89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5214BA-A044-B24B-BC52-210DF4F1A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65E07-8C82-884B-A5F2-0F4A809083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767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3E12AC9-5ABD-4EF3-84C7-EFB134A05D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9" y="1708150"/>
            <a:ext cx="11474519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3733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40A994B-4973-4D03-8A77-767C915E5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708150"/>
            <a:ext cx="56268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8" name="Content Placeholder 35">
            <a:extLst>
              <a:ext uri="{FF2B5EF4-FFF2-40B4-BE49-F238E27FC236}">
                <a16:creationId xmlns:a16="http://schemas.microsoft.com/office/drawing/2014/main" id="{EEA90B3A-5859-4EC9-8CFE-FC52368B368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1574" y="1708150"/>
            <a:ext cx="5628408" cy="40036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4521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C9EB646-C668-4F0E-ACF4-7B8C315DD4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708150"/>
            <a:ext cx="36792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2F6DB32-D693-453C-BA16-79C5DBC5BE3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51325" y="1708150"/>
            <a:ext cx="36792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C0E5222-C2D0-429A-BFC6-65B01647FE5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42653" y="1708150"/>
            <a:ext cx="3677328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340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8683DC5-3F3A-40FA-BF8E-1276E5D081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EB97185-BCAF-4117-B55B-98E842AED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79775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AF9D9B7-B194-412B-915C-1DBAD06F4CC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199553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022B156-2B3F-4E35-A511-BCA330F4BE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9105580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805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44280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7DAA258-42C8-464F-B9BC-95E62C42588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6000"/>
          </a:blip>
          <a:stretch>
            <a:fillRect/>
          </a:stretch>
        </p:blipFill>
        <p:spPr>
          <a:xfrm>
            <a:off x="0" y="0"/>
            <a:ext cx="447762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4984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 2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86E7DE-2426-A145-B4F9-3DE4976683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4110102" y="0"/>
            <a:ext cx="35563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75355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 3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49C8E1-FE4B-D340-849E-981D20A8D65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5832554" y="0"/>
            <a:ext cx="624511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027170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9D5DF27-F31A-B04C-9595-878DE41685C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C1F-2126-9F49-BD83-493DA1524B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240852-23A9-9743-894C-88669CBAFE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9D6C04-FD09-D945-A3BD-92094FAE232B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11">
            <a:extLst>
              <a:ext uri="{FF2B5EF4-FFF2-40B4-BE49-F238E27FC236}">
                <a16:creationId xmlns:a16="http://schemas.microsoft.com/office/drawing/2014/main" id="{98A44031-1A80-E04C-88AA-D6C1DEBE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Slide Number Placeholder 12">
            <a:extLst>
              <a:ext uri="{FF2B5EF4-FFF2-40B4-BE49-F238E27FC236}">
                <a16:creationId xmlns:a16="http://schemas.microsoft.com/office/drawing/2014/main" id="{D35956ED-0871-9845-A765-6C835B8A1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C5A8BDFC-9684-F74F-83CC-B316FE9BF6D7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416F1A-1712-1F40-8E69-DC6E7774F52A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D11293CC-F5EB-D548-B1DC-B4692E4ED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8072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hir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6E8EE53-8C6F-3348-8521-34DD95C71567}"/>
              </a:ext>
            </a:extLst>
          </p:cNvPr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5DBE9F-3F7F-F64C-87E0-4E4A5B71541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3556393" cy="6858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921784-24E5-DD44-B6B2-4A7AB3AD3B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240852-23A9-9743-894C-88669CBAFE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0789" y="264164"/>
            <a:ext cx="7486731" cy="5912799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9D6C04-FD09-D945-A3BD-92094FAE232B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11">
            <a:extLst>
              <a:ext uri="{FF2B5EF4-FFF2-40B4-BE49-F238E27FC236}">
                <a16:creationId xmlns:a16="http://schemas.microsoft.com/office/drawing/2014/main" id="{98A44031-1A80-E04C-88AA-D6C1DEBE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Slide Number Placeholder 12">
            <a:extLst>
              <a:ext uri="{FF2B5EF4-FFF2-40B4-BE49-F238E27FC236}">
                <a16:creationId xmlns:a16="http://schemas.microsoft.com/office/drawing/2014/main" id="{D35956ED-0871-9845-A765-6C835B8A1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981A8F91-A727-AA4E-BA7C-7DADB2A2D6DF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416F1A-1712-1F40-8E69-DC6E7774F52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184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ADE73E13-9138-3A4D-908C-AE63E59AC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4">
            <a:extLst>
              <a:ext uri="{FF2B5EF4-FFF2-40B4-BE49-F238E27FC236}">
                <a16:creationId xmlns:a16="http://schemas.microsoft.com/office/drawing/2014/main" id="{AAE6EDD4-05B6-BC41-ADC7-A7EB8884A24E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C84DD7-C3EF-6B47-A2F5-7451B53E78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-1235034" y="0"/>
            <a:ext cx="4477624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C4602E-B6DE-8F41-8C75-2F99264CEBDF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5326669-005B-DB4B-A2A0-AF67F697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3182451C-DA77-ED4C-B1B9-9DFEF9F70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D1BBA52E-3AAA-4043-8C00-6F6832E917D4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F2629F1-D831-284F-92A8-631DA58FE4A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726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ADE73E13-9138-3A4D-908C-AE63E59AC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4">
            <a:extLst>
              <a:ext uri="{FF2B5EF4-FFF2-40B4-BE49-F238E27FC236}">
                <a16:creationId xmlns:a16="http://schemas.microsoft.com/office/drawing/2014/main" id="{AAE6EDD4-05B6-BC41-ADC7-A7EB8884A24E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C84DD7-C3EF-6B47-A2F5-7451B53E78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-1235034" y="0"/>
            <a:ext cx="4477624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C4602E-B6DE-8F41-8C75-2F99264CEBDF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5326669-005B-DB4B-A2A0-AF67F697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3182451C-DA77-ED4C-B1B9-9DFEF9F70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D1BBA52E-3AAA-4043-8C00-6F6832E917D4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F2629F1-D831-284F-92A8-631DA58FE4A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8046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159AE2E-859F-BD41-AD44-A5D46BBA1807}"/>
              </a:ext>
            </a:extLst>
          </p:cNvPr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F1F7D6-81FF-1545-A2D8-9CA47934C544}"/>
              </a:ext>
            </a:extLst>
          </p:cNvPr>
          <p:cNvSpPr/>
          <p:nvPr/>
        </p:nvSpPr>
        <p:spPr bwMode="white">
          <a:xfrm>
            <a:off x="4051139" y="0"/>
            <a:ext cx="4079508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25EDC0-76B3-C04B-B8B7-82BE154D11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35929F2-0BBE-9B46-9724-76D4AD1965EC}"/>
              </a:ext>
            </a:extLst>
          </p:cNvPr>
          <p:cNvSpPr/>
          <p:nvPr/>
        </p:nvSpPr>
        <p:spPr bwMode="white">
          <a:xfrm>
            <a:off x="8113853" y="0"/>
            <a:ext cx="4079508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33B05CA-EF63-7C4E-998D-EB9E30575B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12178847" y="0"/>
            <a:ext cx="41695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04E279-C530-BF46-824A-E79B3B6D6C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8105247" y="0"/>
            <a:ext cx="416951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B53422-A1AA-4253-A306-79728F3952E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"/>
          </a:blip>
          <a:stretch>
            <a:fillRect/>
          </a:stretch>
        </p:blipFill>
        <p:spPr>
          <a:xfrm>
            <a:off x="-613457" y="0"/>
            <a:ext cx="4477623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DD7F66-B62D-4378-947D-A4C4CF8CE72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"/>
          </a:blip>
          <a:stretch>
            <a:fillRect/>
          </a:stretch>
        </p:blipFill>
        <p:spPr>
          <a:xfrm>
            <a:off x="4317803" y="0"/>
            <a:ext cx="3556393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B2DD466-4995-45BD-8F71-329F2749058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"/>
          </a:blip>
          <a:stretch>
            <a:fillRect/>
          </a:stretch>
        </p:blipFill>
        <p:spPr>
          <a:xfrm>
            <a:off x="8112603" y="0"/>
            <a:ext cx="62451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544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wo headers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C358E84-14E8-CD4E-8FA5-32B450D1D9E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E6D612-6A93-7342-9DBE-636372130D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93193"/>
            <a:ext cx="5157787" cy="611881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EFF560-C132-A046-9FE7-DA320380BC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D2C13-B1EA-0342-851E-35A57D6A72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93193"/>
            <a:ext cx="5183188" cy="611881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85195E-B9B9-8742-B15B-DE68C08217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C484BEB-0020-9941-8A89-BEA2D3E95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7AF2A31-4D8B-9145-8096-96656F76ADC7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24DAA9D1-9E0B-7F44-B1A9-BE7616476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0" name="Slide Number Placeholder 12">
            <a:extLst>
              <a:ext uri="{FF2B5EF4-FFF2-40B4-BE49-F238E27FC236}">
                <a16:creationId xmlns:a16="http://schemas.microsoft.com/office/drawing/2014/main" id="{7DC06177-A6C8-2B44-886F-E0F20D780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5C41D65-ED8A-C842-874B-D49BB2F76C00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EDDC6FB4-7A95-7E42-A36F-E100D786A2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94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1D2BA18-8F7E-144A-AD2F-67506577284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9B60448-B486-7A47-833F-803EB47BC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A5383CA-7038-EC48-B470-BAA16C579F47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1">
            <a:extLst>
              <a:ext uri="{FF2B5EF4-FFF2-40B4-BE49-F238E27FC236}">
                <a16:creationId xmlns:a16="http://schemas.microsoft.com/office/drawing/2014/main" id="{3B3E9DC3-F3E8-4643-9BD0-010F21E7A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50B3819E-A090-9A45-8F2D-92B112CB0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47196C0A-0A51-BA47-A0E3-BA72BB28E14F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BF2856-C3F7-7D41-BD23-51F0A27AEBE9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748D20C-4492-8B4A-AF29-1ECF85E1F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301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5232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9DEA0FF-1359-6C4F-B808-F341578050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8A919A-0218-3A4D-928E-28C7D2EF706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A20E918F-EF46-D94B-9AAF-2925D1686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49C1E2F-302B-7646-90E7-178C05151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0F5926-9FB0-A54D-98B3-247EA0E054D3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583597F-DC48-AA4F-8ACA-21976F93AA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8511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auto">
          <a:xfrm>
            <a:off x="335362" y="60581"/>
            <a:ext cx="10335415" cy="9072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8774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534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6158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956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1860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1912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3286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71821-D3E2-4AD3-A16B-D977999DE163}" type="datetimeFigureOut">
              <a:rPr lang="fr-FR" smtClean="0"/>
              <a:t>02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6831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DF536F-31D1-EE46-A5BF-3F66A36EE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60FE8-5B05-5E4D-AB2A-75B31F8A75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37F5E7-2019-6E44-9684-1821E5267E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2973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7/6/20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5DB4E7-CFEC-5840-8C9B-CAE16C89FD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8638" y="6356350"/>
            <a:ext cx="69147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4D6A0-BE3E-8447-866B-9581F84A38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88488" y="6356350"/>
            <a:ext cx="865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606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NEXT Pan Book" panose="020B0504020101010102" pitchFamily="34" charset="0"/>
          <a:ea typeface="+mj-ea"/>
          <a:cs typeface="NEXT Pan Book" panose="020B0504020101010102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6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4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2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M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ject : Optimization II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Groupe 2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/>
          </a:bodyPr>
          <a:lstStyle/>
          <a:p>
            <a:r>
              <a:rPr lang="fr-FR" dirty="0" smtClean="0"/>
              <a:t>Chaimaa MEMSOUK, Hamza ABDELLAOUI &amp; Hamza EL KASSIM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429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2143066" y="4327578"/>
            <a:ext cx="9114215" cy="951879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6" name="Rectangle 45"/>
          <p:cNvSpPr/>
          <p:nvPr/>
        </p:nvSpPr>
        <p:spPr>
          <a:xfrm>
            <a:off x="2143066" y="3152035"/>
            <a:ext cx="4201477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7" name="Rectangle 46"/>
          <p:cNvSpPr/>
          <p:nvPr/>
        </p:nvSpPr>
        <p:spPr>
          <a:xfrm>
            <a:off x="6429603" y="3152035"/>
            <a:ext cx="4827678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ine Scheduling</a:t>
            </a:r>
            <a:endParaRPr lang="en-US" sz="28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Problem presentation</a:t>
            </a:r>
            <a:endParaRPr lang="en-US" b="0" i="1" dirty="0"/>
          </a:p>
        </p:txBody>
      </p:sp>
      <p:sp>
        <p:nvSpPr>
          <p:cNvPr id="7" name="Rectangle 6"/>
          <p:cNvSpPr/>
          <p:nvPr/>
        </p:nvSpPr>
        <p:spPr>
          <a:xfrm>
            <a:off x="2143066" y="1871241"/>
            <a:ext cx="4201477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ZoneTexte 9"/>
              <p:cNvSpPr txBox="1"/>
              <p:nvPr/>
            </p:nvSpPr>
            <p:spPr>
              <a:xfrm>
                <a:off x="2173526" y="1970795"/>
                <a:ext cx="252800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𝑂𝑣𝑒𝑟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0" name="ZoneTexte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1970795"/>
                <a:ext cx="2528000" cy="338554"/>
              </a:xfrm>
              <a:prstGeom prst="rect">
                <a:avLst/>
              </a:prstGeom>
              <a:blipFill>
                <a:blip r:embed="rId2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Rectangle 27"/>
          <p:cNvSpPr/>
          <p:nvPr/>
        </p:nvSpPr>
        <p:spPr>
          <a:xfrm>
            <a:off x="6429603" y="1871241"/>
            <a:ext cx="4827678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ZoneTexte 39"/>
              <p:cNvSpPr txBox="1"/>
              <p:nvPr/>
            </p:nvSpPr>
            <p:spPr>
              <a:xfrm>
                <a:off x="2173526" y="2316542"/>
                <a:ext cx="381553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𝑡𝑎𝑟𝑡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[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𝐷𝑢𝑟𝑎𝑡𝑖𝑜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0" name="ZoneTexte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2316542"/>
                <a:ext cx="3815532" cy="338554"/>
              </a:xfrm>
              <a:prstGeom prst="rect">
                <a:avLst/>
              </a:prstGeom>
              <a:blipFill>
                <a:blip r:embed="rId3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ZoneTexte 40"/>
              <p:cNvSpPr txBox="1"/>
              <p:nvPr/>
            </p:nvSpPr>
            <p:spPr>
              <a:xfrm>
                <a:off x="2137040" y="2660063"/>
                <a:ext cx="38911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𝑙𝑙𝑜𝑐𝑎𝑡𝑖𝑜𝑛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1" name="ZoneTexte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7040" y="2660063"/>
                <a:ext cx="3891193" cy="338554"/>
              </a:xfrm>
              <a:prstGeom prst="rect">
                <a:avLst/>
              </a:prstGeom>
              <a:blipFill>
                <a:blip r:embed="rId4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ZoneTexte 41"/>
              <p:cNvSpPr txBox="1"/>
              <p:nvPr/>
            </p:nvSpPr>
            <p:spPr>
              <a:xfrm>
                <a:off x="2173526" y="3600260"/>
                <a:ext cx="32440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𝑠𝐹𝑖𝑟𝑠𝑡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2" name="ZoneTexte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3600260"/>
                <a:ext cx="3244093" cy="338554"/>
              </a:xfrm>
              <a:prstGeom prst="rect">
                <a:avLst/>
              </a:prstGeom>
              <a:blipFill>
                <a:blip r:embed="rId5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ZoneTexte 42"/>
              <p:cNvSpPr txBox="1"/>
              <p:nvPr/>
            </p:nvSpPr>
            <p:spPr>
              <a:xfrm>
                <a:off x="2173526" y="3250670"/>
                <a:ext cx="40850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𝑠𝑆𝑢𝑐𝑐𝑒𝑠𝑠𝑜𝑟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𝐽𝑜𝑏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𝐽𝑜𝑏</m:t>
                              </m:r>
                            </m:e>
                            <m:sub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3" name="ZoneTexte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3250670"/>
                <a:ext cx="4085093" cy="338554"/>
              </a:xfrm>
              <a:prstGeom prst="rect">
                <a:avLst/>
              </a:prstGeom>
              <a:blipFill>
                <a:blip r:embed="rId6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/>
              <p:cNvSpPr txBox="1"/>
              <p:nvPr/>
            </p:nvSpPr>
            <p:spPr>
              <a:xfrm>
                <a:off x="6533886" y="1970795"/>
                <a:ext cx="41160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𝑒𝑟𝑚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à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e>
                        <m:sup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0" name="ZoneTexte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1970795"/>
                <a:ext cx="4116063" cy="338554"/>
              </a:xfrm>
              <a:prstGeom prst="rect">
                <a:avLst/>
              </a:prstGeom>
              <a:blipFill>
                <a:blip r:embed="rId7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ZoneTexte 50"/>
              <p:cNvSpPr txBox="1"/>
              <p:nvPr/>
            </p:nvSpPr>
            <p:spPr>
              <a:xfrm>
                <a:off x="6533886" y="2660063"/>
                <a:ext cx="353103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𝑐h𝑖𝑛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𝑙𝑙𝑜𝑢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𝑢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1" name="ZoneTexte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2660063"/>
                <a:ext cx="3531030" cy="338554"/>
              </a:xfrm>
              <a:prstGeom prst="rect">
                <a:avLst/>
              </a:prstGeom>
              <a:blipFill>
                <a:blip r:embed="rId8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Rectangle 51"/>
          <p:cNvSpPr/>
          <p:nvPr/>
        </p:nvSpPr>
        <p:spPr>
          <a:xfrm>
            <a:off x="683915" y="4327578"/>
            <a:ext cx="1358245" cy="951879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/>
          <p:cNvSpPr/>
          <p:nvPr/>
        </p:nvSpPr>
        <p:spPr>
          <a:xfrm>
            <a:off x="683915" y="3152035"/>
            <a:ext cx="1358245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4" name="Rectangle 53"/>
          <p:cNvSpPr/>
          <p:nvPr/>
        </p:nvSpPr>
        <p:spPr>
          <a:xfrm>
            <a:off x="683915" y="1871241"/>
            <a:ext cx="1358245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849915" y="2202689"/>
            <a:ext cx="10262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Decision 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826561" y="3388329"/>
            <a:ext cx="11977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Simulation 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912660" y="4481970"/>
            <a:ext cx="10038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State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ZoneTexte 56"/>
              <p:cNvSpPr txBox="1"/>
              <p:nvPr/>
            </p:nvSpPr>
            <p:spPr>
              <a:xfrm>
                <a:off x="6533886" y="2316542"/>
                <a:ext cx="41160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𝑒𝑟𝑚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à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e>
                        <m:sup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7" name="ZoneTexte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2316542"/>
                <a:ext cx="4116063" cy="338554"/>
              </a:xfrm>
              <a:prstGeom prst="rect">
                <a:avLst/>
              </a:prstGeom>
              <a:blipFill>
                <a:blip r:embed="rId9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ZoneTexte 57"/>
              <p:cNvSpPr txBox="1"/>
              <p:nvPr/>
            </p:nvSpPr>
            <p:spPr>
              <a:xfrm>
                <a:off x="6533886" y="3250670"/>
                <a:ext cx="415158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𝑐𝑐𝑒𝑠𝑠𝑒𝑢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𝑖𝑟𝑒𝑐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𝑢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8" name="ZoneTexte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3250670"/>
                <a:ext cx="4151586" cy="338554"/>
              </a:xfrm>
              <a:prstGeom prst="rect">
                <a:avLst/>
              </a:prstGeom>
              <a:blipFill>
                <a:blip r:embed="rId10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ZoneTexte 58"/>
              <p:cNvSpPr txBox="1"/>
              <p:nvPr/>
            </p:nvSpPr>
            <p:spPr>
              <a:xfrm>
                <a:off x="6533886" y="3600260"/>
                <a:ext cx="389093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𝑟𝑒𝑚𝑖𝑒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𝑀𝑎𝑐h𝑖𝑛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9" name="ZoneTexte 5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3600260"/>
                <a:ext cx="3890937" cy="338554"/>
              </a:xfrm>
              <a:prstGeom prst="rect">
                <a:avLst/>
              </a:prstGeom>
              <a:blipFill>
                <a:blip r:embed="rId11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ZoneTexte 59"/>
              <p:cNvSpPr txBox="1"/>
              <p:nvPr/>
            </p:nvSpPr>
            <p:spPr>
              <a:xfrm>
                <a:off x="2560726" y="4462812"/>
                <a:ext cx="114133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𝑀𝑎𝑐h𝑖𝑛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0" name="ZoneTexte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60726" y="4462812"/>
                <a:ext cx="1141338" cy="33855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ZoneTexte 60"/>
              <p:cNvSpPr txBox="1"/>
              <p:nvPr/>
            </p:nvSpPr>
            <p:spPr>
              <a:xfrm>
                <a:off x="2560726" y="4805360"/>
                <a:ext cx="1356204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1" name="ZoneTexte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60726" y="4805360"/>
                <a:ext cx="1356204" cy="338554"/>
              </a:xfrm>
              <a:prstGeom prst="rect">
                <a:avLst/>
              </a:prstGeom>
              <a:blipFill>
                <a:blip r:embed="rId13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ZoneTexte 61"/>
              <p:cNvSpPr txBox="1"/>
              <p:nvPr/>
            </p:nvSpPr>
            <p:spPr>
              <a:xfrm>
                <a:off x="4106502" y="4462812"/>
                <a:ext cx="76828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𝑃𝑟𝑒𝑑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2" name="ZoneTexte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06502" y="4462812"/>
                <a:ext cx="768287" cy="338554"/>
              </a:xfrm>
              <a:prstGeom prst="rect">
                <a:avLst/>
              </a:prstGeom>
              <a:blipFill>
                <a:blip r:embed="rId14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ZoneTexte 62"/>
              <p:cNvSpPr txBox="1"/>
              <p:nvPr/>
            </p:nvSpPr>
            <p:spPr>
              <a:xfrm>
                <a:off x="4036456" y="4805360"/>
                <a:ext cx="149399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𝑠𝑤𝑖𝑡𝑐h𝑖𝑛𝑇𝑖𝑚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3" name="ZoneTexte 6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6456" y="4805360"/>
                <a:ext cx="1493999" cy="338554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ZoneTexte 63"/>
              <p:cNvSpPr txBox="1"/>
              <p:nvPr/>
            </p:nvSpPr>
            <p:spPr>
              <a:xfrm>
                <a:off x="5663107" y="4462812"/>
                <a:ext cx="180241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𝐷𝑢𝑟𝑎𝑡𝑖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4" name="ZoneTexte 6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3107" y="4462812"/>
                <a:ext cx="1802416" cy="338554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ZoneTexte 64"/>
              <p:cNvSpPr txBox="1"/>
              <p:nvPr/>
            </p:nvSpPr>
            <p:spPr>
              <a:xfrm>
                <a:off x="5663107" y="4805360"/>
                <a:ext cx="106663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𝑢𝑟𝑎𝑡𝑖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5" name="ZoneTexte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3107" y="4805360"/>
                <a:ext cx="1066639" cy="338554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5370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/>
              <a:t>Problem presenta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1434579" y="1746857"/>
            <a:ext cx="9380565" cy="251713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3852291" y="1894618"/>
            <a:ext cx="49391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Objective: Maximize production on the given horizon</a:t>
            </a:r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ZoneTexte 23"/>
              <p:cNvSpPr txBox="1"/>
              <p:nvPr/>
            </p:nvSpPr>
            <p:spPr>
              <a:xfrm>
                <a:off x="1727778" y="2509287"/>
                <a:ext cx="8593381" cy="1057991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1600" i="1" dirty="0" smtClean="0">
                    <a:solidFill>
                      <a:schemeClr val="accent1"/>
                    </a:solidFill>
                  </a:rPr>
                  <a:t>Objective function: </a:t>
                </a: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𝑂𝑏𝑗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𝑀𝑎𝑥</m:t>
                      </m:r>
                      <m:nary>
                        <m:naryPr>
                          <m:chr m:val="∑"/>
                          <m:supHide m:val="on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𝑠𝑂𝑣𝑒𝑟𝑉𝑎𝑟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𝑃𝑟𝑜𝑑𝑢𝑐𝑡𝑖𝑜𝑛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 [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]</m:t>
                          </m:r>
                        </m:e>
                      </m:nary>
                    </m:oMath>
                  </m:oMathPara>
                </a14:m>
                <a:endParaRPr lang="en-US" sz="1600" dirty="0" smtClean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24" name="ZoneTexte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7778" y="2509287"/>
                <a:ext cx="8593381" cy="1057991"/>
              </a:xfrm>
              <a:prstGeom prst="rect">
                <a:avLst/>
              </a:prstGeom>
              <a:blipFill>
                <a:blip r:embed="rId2"/>
                <a:stretch>
                  <a:fillRect l="-355" t="-17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ZoneTexte 10"/>
          <p:cNvSpPr txBox="1"/>
          <p:nvPr/>
        </p:nvSpPr>
        <p:spPr>
          <a:xfrm>
            <a:off x="1727778" y="3683183"/>
            <a:ext cx="6102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Considering only the tasks that are totally finished at the end of the horizon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379244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Results</a:t>
            </a:r>
            <a:endParaRPr lang="en-US" b="0" i="1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430" y="2174886"/>
            <a:ext cx="2858553" cy="654823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430" y="3301383"/>
            <a:ext cx="4371975" cy="154305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6743" y="2174886"/>
            <a:ext cx="2286000" cy="127635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7871" y="3934336"/>
            <a:ext cx="5200650" cy="790575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7871" y="2174886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1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Gantt</a:t>
            </a:r>
            <a:endParaRPr lang="en-US" b="0" i="1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/>
          <a:srcRect l="5310" t="29690" r="50969" b="11395"/>
          <a:stretch/>
        </p:blipFill>
        <p:spPr>
          <a:xfrm>
            <a:off x="255180" y="1349040"/>
            <a:ext cx="11525693" cy="436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97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3 key learnings of the module</a:t>
            </a:r>
            <a:endParaRPr lang="en-US" sz="2800" dirty="0"/>
          </a:p>
        </p:txBody>
      </p:sp>
      <p:sp>
        <p:nvSpPr>
          <p:cNvPr id="7" name="Rectangle 6"/>
          <p:cNvSpPr/>
          <p:nvPr/>
        </p:nvSpPr>
        <p:spPr>
          <a:xfrm>
            <a:off x="1434579" y="1482697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4" name="ZoneTexte 23"/>
          <p:cNvSpPr txBox="1"/>
          <p:nvPr/>
        </p:nvSpPr>
        <p:spPr>
          <a:xfrm>
            <a:off x="1626178" y="1696487"/>
            <a:ext cx="9188966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1:</a:t>
            </a:r>
          </a:p>
          <a:p>
            <a:pPr marL="452438" indent="-269875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i="1" dirty="0" smtClean="0">
                <a:solidFill>
                  <a:schemeClr val="accent1"/>
                </a:solidFill>
              </a:rPr>
              <a:t> </a:t>
            </a:r>
            <a:r>
              <a:rPr lang="fr-FR" sz="1600" dirty="0" smtClean="0"/>
              <a:t>Le grand nombre d’algorithmes existants notamment pour résoudre les problèmes d’optimisation multi-objectifs. Chaque algorithme est meilleur pour le problème qu’il résout.</a:t>
            </a:r>
            <a:endParaRPr lang="fr-FR" sz="1600" dirty="0" smtClean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34579" y="2900478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" name="ZoneTexte 11"/>
          <p:cNvSpPr txBox="1"/>
          <p:nvPr/>
        </p:nvSpPr>
        <p:spPr>
          <a:xfrm>
            <a:off x="1626178" y="3114268"/>
            <a:ext cx="8593381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2:</a:t>
            </a:r>
          </a:p>
          <a:p>
            <a:pPr marL="452438" lvl="0" indent="-269875">
              <a:spcAft>
                <a:spcPts val="600"/>
              </a:spcAft>
              <a:buClr>
                <a:srgbClr val="281A7F"/>
              </a:buClr>
              <a:buFont typeface="Wingdings" panose="05000000000000000000" pitchFamily="2" charset="2"/>
              <a:buChar char="§"/>
            </a:pPr>
            <a:r>
              <a:rPr lang="fr-FR" sz="1600" dirty="0" smtClean="0">
                <a:solidFill>
                  <a:srgbClr val="000000"/>
                </a:solidFill>
              </a:rPr>
              <a:t>La possibilité de pouvoir visualiser </a:t>
            </a:r>
            <a:r>
              <a:rPr lang="fr-FR" sz="1600" dirty="0" smtClean="0">
                <a:solidFill>
                  <a:srgbClr val="000000"/>
                </a:solidFill>
              </a:rPr>
              <a:t>les problèmes </a:t>
            </a:r>
            <a:r>
              <a:rPr lang="fr-FR" sz="1600" dirty="0" smtClean="0">
                <a:solidFill>
                  <a:srgbClr val="000000"/>
                </a:solidFill>
              </a:rPr>
              <a:t>d’optimisation en tant que problèmes classiques notamment les problèmes de </a:t>
            </a:r>
            <a:r>
              <a:rPr lang="fr-FR" sz="1600" dirty="0" smtClean="0">
                <a:solidFill>
                  <a:srgbClr val="000000"/>
                </a:solidFill>
              </a:rPr>
              <a:t>sac-à-dos, </a:t>
            </a:r>
            <a:r>
              <a:rPr lang="fr-FR" sz="1600" dirty="0" err="1" smtClean="0">
                <a:solidFill>
                  <a:srgbClr val="000000"/>
                </a:solidFill>
              </a:rPr>
              <a:t>scheduling</a:t>
            </a:r>
            <a:r>
              <a:rPr lang="fr-FR" sz="1600" dirty="0" smtClean="0">
                <a:solidFill>
                  <a:srgbClr val="000000"/>
                </a:solidFill>
              </a:rPr>
              <a:t>, etc.</a:t>
            </a:r>
            <a:endParaRPr lang="fr-FR" sz="1600" dirty="0">
              <a:solidFill>
                <a:srgbClr val="E2562A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34579" y="4318259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1626178" y="4532049"/>
            <a:ext cx="8593381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3:</a:t>
            </a:r>
          </a:p>
          <a:p>
            <a:pPr marL="452438" lvl="0" indent="-269875">
              <a:spcAft>
                <a:spcPts val="600"/>
              </a:spcAft>
              <a:buClr>
                <a:srgbClr val="281A7F"/>
              </a:buClr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rgbClr val="000000"/>
                </a:solidFill>
              </a:rPr>
              <a:t>L</a:t>
            </a:r>
            <a:r>
              <a:rPr lang="fr-FR" sz="1600" dirty="0" smtClean="0">
                <a:solidFill>
                  <a:srgbClr val="000000"/>
                </a:solidFill>
              </a:rPr>
              <a:t>es méta heuristiques : classifications et exemples inspirés de la nature et de l’évolution etc.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11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2" id="{4612B86D-0E85-4E55-A02E-15C8CF866BE9}" vid="{91A65DC3-9CE8-4723-A350-E9EECB3E5B73}"/>
    </a:ext>
  </a:extLst>
</a:theme>
</file>

<file path=ppt/theme/theme2.xml><?xml version="1.0" encoding="utf-8"?>
<a:theme xmlns:a="http://schemas.openxmlformats.org/drawingml/2006/main" name="ABS">
  <a:themeElements>
    <a:clrScheme name="Custom 6">
      <a:dk1>
        <a:srgbClr val="000000"/>
      </a:dk1>
      <a:lt1>
        <a:srgbClr val="FFFFFF"/>
      </a:lt1>
      <a:dk2>
        <a:srgbClr val="2A1980"/>
      </a:dk2>
      <a:lt2>
        <a:srgbClr val="E6B95A"/>
      </a:lt2>
      <a:accent1>
        <a:srgbClr val="E2562A"/>
      </a:accent1>
      <a:accent2>
        <a:srgbClr val="281A7F"/>
      </a:accent2>
      <a:accent3>
        <a:srgbClr val="E8B859"/>
      </a:accent3>
      <a:accent4>
        <a:srgbClr val="FFFFFF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NEXT PAN BOOK">
      <a:majorFont>
        <a:latin typeface="NEXT Pan Book"/>
        <a:ea typeface=""/>
        <a:cs typeface=""/>
      </a:majorFont>
      <a:minorFont>
        <a:latin typeface="NEXT Pan Boo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S" id="{B8135184-1AD8-44CE-8E15-A0949540334F}" vid="{A87C5FCD-2787-41C4-97DA-A47D5DAD42E7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ème2</Template>
  <TotalTime>2922</TotalTime>
  <Words>210</Words>
  <Application>Microsoft Office PowerPoint</Application>
  <PresentationFormat>Grand écran</PresentationFormat>
  <Paragraphs>50</Paragraphs>
  <Slides>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9" baseType="lpstr">
      <vt:lpstr>Arial</vt:lpstr>
      <vt:lpstr>Calibri</vt:lpstr>
      <vt:lpstr>Calibri Light</vt:lpstr>
      <vt:lpstr>Cambria Math</vt:lpstr>
      <vt:lpstr>Century Gothic</vt:lpstr>
      <vt:lpstr>NEXT Pan Book</vt:lpstr>
      <vt:lpstr>NEXT Pan Book Light</vt:lpstr>
      <vt:lpstr>System Font Regular</vt:lpstr>
      <vt:lpstr>Trebuchet MS</vt:lpstr>
      <vt:lpstr>Wingdings</vt:lpstr>
      <vt:lpstr>Thème2</vt:lpstr>
      <vt:lpstr>ABS</vt:lpstr>
      <vt:lpstr>Diapositive think-cell</vt:lpstr>
      <vt:lpstr>Project : Optimization II</vt:lpstr>
      <vt:lpstr>Mine Scheduling</vt:lpstr>
      <vt:lpstr>Mine Scheduling</vt:lpstr>
      <vt:lpstr>Mine Scheduling</vt:lpstr>
      <vt:lpstr>Mine Scheduling</vt:lpstr>
      <vt:lpstr>3 key learnings of the module</vt:lpstr>
    </vt:vector>
  </TitlesOfParts>
  <Company>O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</dc:title>
  <dc:creator>MEMSOUK Chaimaa</dc:creator>
  <cp:lastModifiedBy>MEMSOUK Chaimaa</cp:lastModifiedBy>
  <cp:revision>53</cp:revision>
  <dcterms:created xsi:type="dcterms:W3CDTF">2022-01-02T14:57:06Z</dcterms:created>
  <dcterms:modified xsi:type="dcterms:W3CDTF">2022-02-02T13:01:50Z</dcterms:modified>
</cp:coreProperties>
</file>